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262" r:id="rId2"/>
    <p:sldId id="259" r:id="rId3"/>
    <p:sldId id="260" r:id="rId4"/>
    <p:sldId id="257" r:id="rId5"/>
    <p:sldId id="258" r:id="rId6"/>
    <p:sldId id="261" r:id="rId7"/>
  </p:sldIdLst>
  <p:sldSz cx="9144000" cy="6858000" type="screen4x3"/>
  <p:notesSz cx="7315200" cy="96012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4554"/>
    <a:srgbClr val="B7A66D"/>
    <a:srgbClr val="3F344A"/>
    <a:srgbClr val="F4AF00"/>
    <a:srgbClr val="500000"/>
    <a:srgbClr val="1D3362"/>
    <a:srgbClr val="D1D1D1"/>
    <a:srgbClr val="8F8F8C"/>
    <a:srgbClr val="F6F4EE"/>
    <a:srgbClr val="5F57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8662" autoAdjust="0"/>
    <p:restoredTop sz="95271" autoAdjust="0"/>
  </p:normalViewPr>
  <p:slideViewPr>
    <p:cSldViewPr showGuides="1">
      <p:cViewPr>
        <p:scale>
          <a:sx n="90" d="100"/>
          <a:sy n="90" d="100"/>
        </p:scale>
        <p:origin x="1320" y="144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notesMaster" Target="notesMasters/notes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a-williams\AppData\Local\Microsoft\Windows\Temporary%20Internet%20Files\Content.Outlook\F0HSVOTB\FY%202017%20results%20graphs.xlsx" TargetMode="External"/><Relationship Id="rId2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a-williams\Desktop\Copy%20of%20FY%202017%20results%20graph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4365101988"/>
          <c:y val="0.0636995760145366"/>
          <c:w val="0.796305959811835"/>
          <c:h val="0.728274623566791"/>
        </c:manualLayout>
      </c:layout>
      <c:lineChart>
        <c:grouping val="standard"/>
        <c:varyColors val="0"/>
        <c:ser>
          <c:idx val="1"/>
          <c:order val="0"/>
          <c:marker>
            <c:spPr>
              <a:solidFill>
                <a:srgbClr val="B7A66D"/>
              </a:solidFill>
            </c:spPr>
          </c:marker>
          <c:dLbls>
            <c:dLbl>
              <c:idx val="0"/>
              <c:layout>
                <c:manualLayout>
                  <c:x val="-0.0370961862930427"/>
                  <c:y val="0.03419967696345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382992790074391"/>
                  <c:y val="-0.03383464566929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46600902485056"/>
                  <c:y val="0.0427940642035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0376487860716481"/>
                  <c:y val="-0.0388901675752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24081716667646"/>
                  <c:y val="0.03718493842115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271388679460325"/>
                  <c:y val="-0.02987058348475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299514045599058"/>
                  <c:y val="0.04097294568948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032166414583905"/>
                  <c:y val="-0.03893296991722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283687620730577"/>
                  <c:y val="-0.03461001721485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0.0275990099009901"/>
                  <c:y val="0.03245391544685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0.0435116167137669"/>
                  <c:y val="-0.02948193014334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0.0272463376077253"/>
                  <c:y val="-0.04127074500302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0.00105589829326591"/>
                  <c:y val="0.001512214819301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414118794292072"/>
                  <c:y val="-0.03748253583686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31498187380508"/>
                  <c:y val="0.03101433474661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>
                <c:manualLayout>
                  <c:x val="-0.0269385889505345"/>
                  <c:y val="-0.03970381586917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-0.0298068111646909"/>
                  <c:y val="0.04140864122753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-0.0327372215439193"/>
                  <c:y val="-0.038950131233595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301229540418819"/>
                  <c:y val="0.03402927518675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05203198647088"/>
                  <c:y val="-0.04261074096507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144193783051502"/>
                  <c:y val="-0.03776539471027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265154665072805"/>
                  <c:y val="0.033117892928325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269937328378507"/>
                  <c:y val="-0.032229137593247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3"/>
              <c:layout>
                <c:manualLayout>
                  <c:x val="-0.0266217960378714"/>
                  <c:y val="0.032229137593247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4"/>
              <c:layout>
                <c:manualLayout>
                  <c:x val="-0.0293630839461898"/>
                  <c:y val="-0.03222947713683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5"/>
              <c:layout>
                <c:manualLayout>
                  <c:x val="-0.0246412731824364"/>
                  <c:y val="0.03654134112925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noFill/>
              </a:ln>
            </c:spPr>
            <c:txPr>
              <a:bodyPr/>
              <a:lstStyle/>
              <a:p>
                <a:pPr>
                  <a:defRPr sz="1000" baseline="0">
                    <a:latin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4:$A$139</c:f>
              <c:numCache>
                <c:formatCode>General</c:formatCode>
                <c:ptCount val="26"/>
                <c:pt idx="0">
                  <c:v>1992.0</c:v>
                </c:pt>
                <c:pt idx="1">
                  <c:v>1993.0</c:v>
                </c:pt>
                <c:pt idx="2">
                  <c:v>1994.0</c:v>
                </c:pt>
                <c:pt idx="3">
                  <c:v>1995.0</c:v>
                </c:pt>
                <c:pt idx="4">
                  <c:v>1996.0</c:v>
                </c:pt>
                <c:pt idx="5">
                  <c:v>1997.0</c:v>
                </c:pt>
                <c:pt idx="6">
                  <c:v>1998.0</c:v>
                </c:pt>
                <c:pt idx="7">
                  <c:v>1999.0</c:v>
                </c:pt>
                <c:pt idx="8">
                  <c:v>2000.0</c:v>
                </c:pt>
                <c:pt idx="9">
                  <c:v>2001.0</c:v>
                </c:pt>
                <c:pt idx="10">
                  <c:v>2002.0</c:v>
                </c:pt>
                <c:pt idx="11">
                  <c:v>2003.0</c:v>
                </c:pt>
                <c:pt idx="12">
                  <c:v>2004.0</c:v>
                </c:pt>
                <c:pt idx="13">
                  <c:v>2005.0</c:v>
                </c:pt>
                <c:pt idx="14">
                  <c:v>2006.0</c:v>
                </c:pt>
                <c:pt idx="15">
                  <c:v>2007.0</c:v>
                </c:pt>
                <c:pt idx="16">
                  <c:v>2008.0</c:v>
                </c:pt>
                <c:pt idx="17">
                  <c:v>2009.0</c:v>
                </c:pt>
                <c:pt idx="18">
                  <c:v>2010.0</c:v>
                </c:pt>
                <c:pt idx="19">
                  <c:v>2011.0</c:v>
                </c:pt>
                <c:pt idx="20">
                  <c:v>2012.0</c:v>
                </c:pt>
                <c:pt idx="21">
                  <c:v>2013.0</c:v>
                </c:pt>
                <c:pt idx="22">
                  <c:v>2014.0</c:v>
                </c:pt>
                <c:pt idx="23">
                  <c:v>2015.0</c:v>
                </c:pt>
                <c:pt idx="24">
                  <c:v>2016.0</c:v>
                </c:pt>
                <c:pt idx="25">
                  <c:v>2017.0</c:v>
                </c:pt>
              </c:numCache>
            </c:numRef>
          </c:cat>
          <c:val>
            <c:numRef>
              <c:f>Sheet1!$B$114:$B$139</c:f>
              <c:numCache>
                <c:formatCode>General</c:formatCode>
                <c:ptCount val="26"/>
                <c:pt idx="0">
                  <c:v>68.6</c:v>
                </c:pt>
                <c:pt idx="1">
                  <c:v>69.14</c:v>
                </c:pt>
                <c:pt idx="2">
                  <c:v>71.01</c:v>
                </c:pt>
                <c:pt idx="3">
                  <c:v>71.75</c:v>
                </c:pt>
                <c:pt idx="4">
                  <c:v>73.99</c:v>
                </c:pt>
                <c:pt idx="5">
                  <c:v>74.59</c:v>
                </c:pt>
                <c:pt idx="6">
                  <c:v>74.38</c:v>
                </c:pt>
                <c:pt idx="7">
                  <c:v>73.95</c:v>
                </c:pt>
                <c:pt idx="8">
                  <c:v>76.6</c:v>
                </c:pt>
                <c:pt idx="9">
                  <c:v>76.07</c:v>
                </c:pt>
                <c:pt idx="10">
                  <c:v>81.12</c:v>
                </c:pt>
                <c:pt idx="11">
                  <c:v>84.25</c:v>
                </c:pt>
                <c:pt idx="12">
                  <c:v>83.15</c:v>
                </c:pt>
                <c:pt idx="13">
                  <c:v>89.9</c:v>
                </c:pt>
                <c:pt idx="14">
                  <c:v>90.44</c:v>
                </c:pt>
                <c:pt idx="15">
                  <c:v>91.83</c:v>
                </c:pt>
                <c:pt idx="16">
                  <c:v>91.24</c:v>
                </c:pt>
                <c:pt idx="17">
                  <c:v>92.94</c:v>
                </c:pt>
                <c:pt idx="18">
                  <c:v>93.84</c:v>
                </c:pt>
                <c:pt idx="19">
                  <c:v>93.67999999999999</c:v>
                </c:pt>
                <c:pt idx="20">
                  <c:v>94.04</c:v>
                </c:pt>
                <c:pt idx="21">
                  <c:v>90.28</c:v>
                </c:pt>
                <c:pt idx="22">
                  <c:v>90.74</c:v>
                </c:pt>
                <c:pt idx="23">
                  <c:v>90.47</c:v>
                </c:pt>
                <c:pt idx="24">
                  <c:v>91.61</c:v>
                </c:pt>
                <c:pt idx="25">
                  <c:v>91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2-275F-4AED-83A6-C48A88DDEF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3750480"/>
        <c:axId val="1423905568"/>
      </c:lineChart>
      <c:catAx>
        <c:axId val="1423750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1423905568"/>
        <c:crosses val="autoZero"/>
        <c:auto val="1"/>
        <c:lblAlgn val="ctr"/>
        <c:lblOffset val="100"/>
        <c:noMultiLvlLbl val="0"/>
      </c:catAx>
      <c:valAx>
        <c:axId val="1423905568"/>
        <c:scaling>
          <c:orientation val="minMax"/>
          <c:max val="100.0"/>
          <c:min val="50.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3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r>
                  <a:rPr lang="en-US" sz="1300">
                    <a:latin typeface="Arial" panose="020B0604020202020204" pitchFamily="34" charset="0"/>
                    <a:cs typeface="Arial" panose="020B0604020202020204" pitchFamily="34" charset="0"/>
                  </a:rPr>
                  <a:t>%</a:t>
                </a:r>
                <a:r>
                  <a:rPr lang="en-US" sz="1300" baseline="0">
                    <a:latin typeface="Arial" panose="020B0604020202020204" pitchFamily="34" charset="0"/>
                    <a:cs typeface="Arial" panose="020B0604020202020204" pitchFamily="34" charset="0"/>
                  </a:rPr>
                  <a:t> Safety Belt Use</a:t>
                </a:r>
                <a:endParaRPr lang="en-US" sz="1300"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0"/>
              <c:y val="0.384323341161302"/>
            </c:manualLayout>
          </c:layout>
          <c:overlay val="0"/>
        </c:title>
        <c:numFmt formatCode="0&quot;%&quot;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1423750480"/>
        <c:crosses val="autoZero"/>
        <c:crossBetween val="between"/>
        <c:majorUnit val="10.0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979676663709706"/>
          <c:y val="0.0488414561684353"/>
          <c:w val="0.880098767661733"/>
          <c:h val="0.828159508924955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rgbClr val="104554"/>
              </a:solidFill>
            </a:ln>
          </c:spPr>
          <c:marker>
            <c:symbol val="square"/>
            <c:size val="6"/>
            <c:spPr>
              <a:solidFill>
                <a:srgbClr val="B7A66D"/>
              </a:solidFill>
            </c:spPr>
          </c:marker>
          <c:dPt>
            <c:idx val="6"/>
            <c:marker>
              <c:spPr>
                <a:solidFill>
                  <a:srgbClr val="B7A66D"/>
                </a:solidFill>
                <a:ln>
                  <a:solidFill>
                    <a:srgbClr val="104554"/>
                  </a:solidFill>
                </a:ln>
              </c:spPr>
            </c:marker>
            <c:bubble3D val="0"/>
          </c:dPt>
          <c:dLbls>
            <c:dLbl>
              <c:idx val="0"/>
              <c:layout>
                <c:manualLayout>
                  <c:x val="-0.0219335659672968"/>
                  <c:y val="0.0261113891300138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97.1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250669325340535"/>
                  <c:y val="-0.0365559447820193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97.2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19335659672968"/>
                  <c:y val="0.0339448058690179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98.2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0282002991008101"/>
                  <c:y val="-0.0365561503835084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99.1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313339123893438"/>
                  <c:y val="0.0339448058690179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98.4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0156668328337834"/>
                  <c:y val="-0.00261113891300138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99.7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611006480517553"/>
                  <c:y val="0.00783341673900413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66.9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0203668826839184"/>
                  <c:y val="-0.0391670836950206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62.8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0.0360337155177019"/>
                  <c:y val="0.0365559447820193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55.1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0.0313336656675668"/>
                  <c:y val="-0.0443893615210234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56.6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0.0391670820844585"/>
                  <c:y val="0.0365559447820193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53.2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0.0329003489509452"/>
                  <c:y val="-0.0443893615210233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49.8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0.00313336656675668"/>
                  <c:y val="0.0104445556520055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54.1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0.0360337155177019"/>
                  <c:y val="-0.0287225280430151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60.6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0235002492506751"/>
                  <c:y val="0.0261113891300137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58.6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>
                <c:manualLayout>
                  <c:x val="-0.0282002991008101"/>
                  <c:y val="-0.0391670836950206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60.9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>
                <c:manualLayout>
                  <c:x val="-0.0266336158174318"/>
                  <c:y val="0.0339446002675286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62.1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>
                <c:manualLayout>
                  <c:x val="-0.0297669823841885"/>
                  <c:y val="-0.0313336669560165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61.7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>
                <c:manualLayout>
                  <c:x val="-0.0282002991008101"/>
                  <c:y val="0.0313336669560165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57.0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0.0313336656675668"/>
                  <c:y val="-0.041778222608022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62.6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>
                <c:manualLayout>
                  <c:x val="-0.0297669823841885"/>
                  <c:y val="0.0365555335790408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61.1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>
                <c:manualLayout>
                  <c:x val="-0.0329003489509451"/>
                  <c:y val="-0.0339448058690179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65.2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0.0282002991008101"/>
                  <c:y val="0.0339448058690179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66.2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3"/>
              <c:layout>
                <c:manualLayout>
                  <c:x val="0.0"/>
                  <c:y val="0.0156668334780082"/>
                </c:manualLayout>
              </c:layout>
              <c:tx>
                <c:rich>
                  <a:bodyPr/>
                  <a:lstStyle/>
                  <a:p>
                    <a:r>
                      <a:rPr lang="nb-NO" dirty="0" smtClean="0"/>
                      <a:t>65.6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4"/>
              <c:layout>
                <c:manualLayout>
                  <c:x val="-0.0360337155177019"/>
                  <c:y val="-0.0365559447820193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72.1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bg1"/>
              </a:solidFill>
              <a:ln>
                <a:noFill/>
              </a:ln>
            </c:spPr>
            <c:txPr>
              <a:bodyPr/>
              <a:lstStyle/>
              <a:p>
                <a:pPr>
                  <a:defRPr sz="10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86:$A$111</c:f>
              <c:numCache>
                <c:formatCode>General</c:formatCode>
                <c:ptCount val="26"/>
                <c:pt idx="0">
                  <c:v>1992.0</c:v>
                </c:pt>
                <c:pt idx="1">
                  <c:v>1993.0</c:v>
                </c:pt>
                <c:pt idx="2">
                  <c:v>1994.0</c:v>
                </c:pt>
                <c:pt idx="3">
                  <c:v>1995.0</c:v>
                </c:pt>
                <c:pt idx="4">
                  <c:v>1996.0</c:v>
                </c:pt>
                <c:pt idx="5">
                  <c:v>1997.0</c:v>
                </c:pt>
                <c:pt idx="6">
                  <c:v>1998.0</c:v>
                </c:pt>
                <c:pt idx="7">
                  <c:v>1999.0</c:v>
                </c:pt>
                <c:pt idx="8">
                  <c:v>2000.0</c:v>
                </c:pt>
                <c:pt idx="9">
                  <c:v>2001.0</c:v>
                </c:pt>
                <c:pt idx="10">
                  <c:v>2002.0</c:v>
                </c:pt>
                <c:pt idx="11">
                  <c:v>2003.0</c:v>
                </c:pt>
                <c:pt idx="12">
                  <c:v>2004.0</c:v>
                </c:pt>
                <c:pt idx="13">
                  <c:v>2005.0</c:v>
                </c:pt>
                <c:pt idx="14">
                  <c:v>2006.0</c:v>
                </c:pt>
                <c:pt idx="15">
                  <c:v>2007.0</c:v>
                </c:pt>
                <c:pt idx="16">
                  <c:v>2008.0</c:v>
                </c:pt>
                <c:pt idx="17">
                  <c:v>2009.0</c:v>
                </c:pt>
                <c:pt idx="18">
                  <c:v>2010.0</c:v>
                </c:pt>
                <c:pt idx="19">
                  <c:v>2011.0</c:v>
                </c:pt>
                <c:pt idx="20">
                  <c:v>2012.0</c:v>
                </c:pt>
                <c:pt idx="21">
                  <c:v>2013.0</c:v>
                </c:pt>
                <c:pt idx="22">
                  <c:v>2014.0</c:v>
                </c:pt>
                <c:pt idx="23">
                  <c:v>2015.0</c:v>
                </c:pt>
                <c:pt idx="24">
                  <c:v>2016.0</c:v>
                </c:pt>
              </c:numCache>
            </c:numRef>
          </c:cat>
          <c:val>
            <c:numRef>
              <c:f>Sheet1!$AH$88:$AH$113</c:f>
              <c:numCache>
                <c:formatCode>0.0%</c:formatCode>
                <c:ptCount val="26"/>
                <c:pt idx="0">
                  <c:v>0.971</c:v>
                </c:pt>
                <c:pt idx="1">
                  <c:v>0.972</c:v>
                </c:pt>
                <c:pt idx="2">
                  <c:v>0.982</c:v>
                </c:pt>
                <c:pt idx="3">
                  <c:v>0.991</c:v>
                </c:pt>
                <c:pt idx="4">
                  <c:v>0.984</c:v>
                </c:pt>
                <c:pt idx="5">
                  <c:v>0.997</c:v>
                </c:pt>
                <c:pt idx="6">
                  <c:v>0.669</c:v>
                </c:pt>
                <c:pt idx="7">
                  <c:v>0.628</c:v>
                </c:pt>
                <c:pt idx="8">
                  <c:v>0.551</c:v>
                </c:pt>
                <c:pt idx="9">
                  <c:v>0.566</c:v>
                </c:pt>
                <c:pt idx="10">
                  <c:v>0.532</c:v>
                </c:pt>
                <c:pt idx="11">
                  <c:v>0.498</c:v>
                </c:pt>
                <c:pt idx="12">
                  <c:v>0.541</c:v>
                </c:pt>
                <c:pt idx="13">
                  <c:v>0.606</c:v>
                </c:pt>
                <c:pt idx="14">
                  <c:v>0.586</c:v>
                </c:pt>
                <c:pt idx="15">
                  <c:v>0.609</c:v>
                </c:pt>
                <c:pt idx="16">
                  <c:v>0.621</c:v>
                </c:pt>
                <c:pt idx="17">
                  <c:v>0.617</c:v>
                </c:pt>
                <c:pt idx="18">
                  <c:v>0.57</c:v>
                </c:pt>
                <c:pt idx="19">
                  <c:v>0.626</c:v>
                </c:pt>
                <c:pt idx="20">
                  <c:v>0.611</c:v>
                </c:pt>
                <c:pt idx="21">
                  <c:v>0.652</c:v>
                </c:pt>
                <c:pt idx="22">
                  <c:v>0.662</c:v>
                </c:pt>
                <c:pt idx="23">
                  <c:v>0.656</c:v>
                </c:pt>
                <c:pt idx="24">
                  <c:v>0.721</c:v>
                </c:pt>
                <c:pt idx="25">
                  <c:v>0.7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4676912"/>
        <c:axId val="1534679664"/>
      </c:lineChart>
      <c:catAx>
        <c:axId val="1534676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 sz="1200" baseline="0">
                <a:latin typeface="Arial" panose="020B0604020202020204" pitchFamily="34" charset="0"/>
              </a:defRPr>
            </a:pPr>
            <a:endParaRPr lang="en-US"/>
          </a:p>
        </c:txPr>
        <c:crossAx val="1534679664"/>
        <c:crosses val="autoZero"/>
        <c:auto val="1"/>
        <c:lblAlgn val="ctr"/>
        <c:lblOffset val="100"/>
        <c:noMultiLvlLbl val="0"/>
      </c:catAx>
      <c:valAx>
        <c:axId val="1534679664"/>
        <c:scaling>
          <c:orientation val="minMax"/>
          <c:max val="1.0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153467691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8609</cdr:x>
      <cdr:y>0.4</cdr:y>
    </cdr:from>
    <cdr:to>
      <cdr:x>0.92113</cdr:x>
      <cdr:y>0.45571</cdr:y>
    </cdr:to>
    <cdr:sp macro="" textlink="">
      <cdr:nvSpPr>
        <cdr:cNvPr id="10" name="Rectangle 9"/>
        <cdr:cNvSpPr/>
      </cdr:nvSpPr>
      <cdr:spPr>
        <a:xfrm xmlns:a="http://schemas.openxmlformats.org/drawingml/2006/main">
          <a:off x="7494730" y="1981200"/>
          <a:ext cx="296410" cy="275953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 sz="1200" dirty="0" err="1" smtClean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88609</cdr:x>
      <cdr:y>0.70769</cdr:y>
    </cdr:from>
    <cdr:to>
      <cdr:x>0.92113</cdr:x>
      <cdr:y>0.75385</cdr:y>
    </cdr:to>
    <cdr:sp macro="" textlink="">
      <cdr:nvSpPr>
        <cdr:cNvPr id="11" name="Rectangle 10"/>
        <cdr:cNvSpPr/>
      </cdr:nvSpPr>
      <cdr:spPr>
        <a:xfrm xmlns:a="http://schemas.openxmlformats.org/drawingml/2006/main">
          <a:off x="7494730" y="3505199"/>
          <a:ext cx="296410" cy="2286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 sz="1200" dirty="0" err="1" smtClean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1/27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1" Type="http://schemas.openxmlformats.org/officeDocument/2006/relationships/vmlDrawing" Target="../drawings/vmlDrawing3.vml"/><Relationship Id="rId2" Type="http://schemas.openxmlformats.org/officeDocument/2006/relationships/tags" Target="../tags/tag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657600"/>
            <a:ext cx="3862391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286375"/>
            <a:ext cx="3862391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9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045871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image" Target="../media/image1.png"/><Relationship Id="rId14" Type="http://schemas.openxmlformats.org/officeDocument/2006/relationships/image" Target="../media/image2.png"/><Relationship Id="rId15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tags" Target="../tags/tag3.xml"/><Relationship Id="rId1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7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2" y="76202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6" y="1066800"/>
            <a:ext cx="8477251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52" y="6582397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8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Statewide Safety Belt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Use Rat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</a:t>
            </a:fld>
            <a:endParaRPr lang="en-US" dirty="0"/>
          </a:p>
        </p:txBody>
      </p:sp>
      <p:grpSp>
        <p:nvGrpSpPr>
          <p:cNvPr id="43" name="Group 42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44" name="Rectangle 43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2362924"/>
              </p:ext>
            </p:extLst>
          </p:nvPr>
        </p:nvGraphicFramePr>
        <p:xfrm>
          <a:off x="533400" y="1143000"/>
          <a:ext cx="8458201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ectangle 17"/>
          <p:cNvSpPr/>
          <p:nvPr/>
        </p:nvSpPr>
        <p:spPr>
          <a:xfrm>
            <a:off x="6590829" y="4510223"/>
            <a:ext cx="296410" cy="366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352800" y="396232"/>
            <a:ext cx="5791202" cy="60967"/>
            <a:chOff x="3352800" y="396232"/>
            <a:chExt cx="5791202" cy="60967"/>
          </a:xfrm>
        </p:grpSpPr>
        <p:sp>
          <p:nvSpPr>
            <p:cNvPr id="51" name="Rectangle 5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546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758" y="3124200"/>
            <a:ext cx="1730042" cy="1730042"/>
          </a:xfrm>
          <a:prstGeom prst="rect">
            <a:avLst/>
          </a:prstGeom>
          <a:noFill/>
          <a:ln w="9525">
            <a:solidFill>
              <a:srgbClr val="10455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89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Texas 2017 Safety Belt Use by City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654" y="1143000"/>
            <a:ext cx="3733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.  Total 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6,434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occupants in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1,600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vehicles (1,200 per city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). Average estimate across cities of total restraint use is 90.1%. Drivers were seat belted at a rate of 90.3% and passengers at a rate of 89.3%.</a:t>
            </a:r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81599" y="271136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1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100783" y="254943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0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953000" y="1247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5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094879" y="40305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/>
              <a:t>95.3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09141" y="38920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0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37752" y="561118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7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595975" y="36258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90.3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144745" y="5064978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0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00782" y="4296529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1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2054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9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262126" y="257286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0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943599" y="5361027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2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82917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7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001745" y="216140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2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91200" y="44818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1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770793" y="2784974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1%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248400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3.4%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938875" y="31769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1%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105400" y="396233"/>
            <a:ext cx="4038602" cy="60966"/>
            <a:chOff x="3352800" y="396232"/>
            <a:chExt cx="5791202" cy="60967"/>
          </a:xfrm>
        </p:grpSpPr>
        <p:sp>
          <p:nvSpPr>
            <p:cNvPr id="61" name="Rectangle 6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68" name="Rectangle 67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401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Texas 2017 Nighttime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Safety Belt Use by City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8620" y="1174629"/>
            <a:ext cx="319278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passenger combined. Total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3,307 occupants. Average estimate across cities of total nighttime restraint use is 85.2%. Drivers were seat belted at a rate of 85.1% and passengers at a rate of 85.6%.</a:t>
            </a:r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1599" y="2694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9.9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96000" y="40209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3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53000" y="1295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1.6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619999" y="389615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0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248400" y="562772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7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05599" y="363496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9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34099" y="505854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8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117279" y="253646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8.8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022591" y="316887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9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162799" y="4267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7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66794" y="25870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3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959705" y="5361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1.7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791199" y="448334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8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794402" y="278602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8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991348" y="31827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9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248399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0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979419" y="21921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7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800600" y="3200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1.9%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352800" y="396232"/>
            <a:ext cx="5791202" cy="60967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609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04800"/>
            <a:ext cx="6158542" cy="6158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2017 Child </a:t>
            </a:r>
            <a:r>
              <a:rPr lang="en-US" dirty="0">
                <a:solidFill>
                  <a:srgbClr val="104554"/>
                </a:solidFill>
              </a:rPr>
              <a:t>Restraint Use </a:t>
            </a:r>
            <a:r>
              <a:rPr lang="en-US" dirty="0" smtClean="0">
                <a:solidFill>
                  <a:srgbClr val="104554"/>
                </a:solidFill>
              </a:rPr>
              <a:t>in 14 </a:t>
            </a:r>
            <a:r>
              <a:rPr lang="en-US" dirty="0">
                <a:solidFill>
                  <a:srgbClr val="104554"/>
                </a:solidFill>
              </a:rPr>
              <a:t>Texas Cities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0" y="1054078"/>
            <a:ext cx="3581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at child care centers and shopping center entry points.  Children estimated as 4 years old and younger included in the sample. 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Total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13,656. Average estimate across cities of total restraint use is 87.4%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800599" y="130956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6.6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467600" y="389605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6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096775" y="399382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95.2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95999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7.5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96028" y="362997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8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096776" y="505443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9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24673" y="256204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90.6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97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9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115050" y="256204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5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831870" y="21811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8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939474" y="425397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5.3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38800" y="44324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4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619999" y="2743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5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8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6%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6175214" y="396232"/>
            <a:ext cx="2968787" cy="60967"/>
            <a:chOff x="3352800" y="396232"/>
            <a:chExt cx="5791202" cy="60967"/>
          </a:xfrm>
        </p:grpSpPr>
        <p:sp>
          <p:nvSpPr>
            <p:cNvPr id="36" name="Rectangle 35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-1" y="6408423"/>
            <a:ext cx="9144001" cy="320040"/>
            <a:chOff x="-1" y="8915400"/>
            <a:chExt cx="6858001" cy="45720"/>
          </a:xfrm>
        </p:grpSpPr>
        <p:sp>
          <p:nvSpPr>
            <p:cNvPr id="47" name="Rectangle 4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6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1802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593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2017 School-Age Child Restraint Use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in 18 Texas Citi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1000" y="1260940"/>
            <a:ext cx="362491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in or near school zones in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four quadrants i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ach city, with a quota sample of a minimum of 500 vehicles/city.  Total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017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12,183. 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Children estimated as 5-16 years old included in the sample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verage percent use across all cities = 57.8%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1600" y="26186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4.1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72199" y="3962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9.1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524730" y="38100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47.6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265447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7.0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34994" y="358139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3.2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15000" y="4980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2.4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124698" y="24662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0.7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47999" y="3075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0.7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58869" y="42195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3.9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48399" y="24662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7.6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922547" y="52856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7.6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52999" y="207145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9.7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800600" y="3075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1.1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791199" y="4419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9.6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810499" y="2694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5.1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52999" y="1219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7.5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934199" y="3124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1.6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248399" y="2133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9.6%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5410200" y="396233"/>
            <a:ext cx="3733802" cy="60966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-1" y="6400807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951589"/>
              </p:ext>
            </p:extLst>
          </p:nvPr>
        </p:nvGraphicFramePr>
        <p:xfrm>
          <a:off x="518851" y="1143000"/>
          <a:ext cx="8106297" cy="4863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3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805" y="3657600"/>
            <a:ext cx="1601651" cy="1601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oup 30"/>
          <p:cNvGrpSpPr/>
          <p:nvPr/>
        </p:nvGrpSpPr>
        <p:grpSpPr>
          <a:xfrm>
            <a:off x="-1" y="6400800"/>
            <a:ext cx="9144001" cy="320040"/>
            <a:chOff x="-1" y="8915400"/>
            <a:chExt cx="6858001" cy="45720"/>
          </a:xfrm>
        </p:grpSpPr>
        <p:sp>
          <p:nvSpPr>
            <p:cNvPr id="32" name="Rectangle 31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419600" y="396233"/>
            <a:ext cx="4724402" cy="60966"/>
            <a:chOff x="3352800" y="396232"/>
            <a:chExt cx="5791202" cy="60967"/>
          </a:xfrm>
        </p:grpSpPr>
        <p:sp>
          <p:nvSpPr>
            <p:cNvPr id="25" name="Rectangle 24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212" y="159599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Statewide Motorcycle Helmet 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Use Rat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</a:t>
            </a:r>
            <a:r>
              <a:rPr lang="en-US" sz="1200" dirty="0" smtClean="0">
                <a:solidFill>
                  <a:srgbClr val="1D3362"/>
                </a:solidFill>
                <a:latin typeface="Franklin Gothic Book" pitchFamily="34" charset="0"/>
                <a:cs typeface="Arial" pitchFamily="34" charset="0"/>
              </a:rPr>
              <a:t>.</a:t>
            </a:r>
            <a:endParaRPr lang="en-US" sz="1200" dirty="0">
              <a:solidFill>
                <a:srgbClr val="1D3362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2390001"/>
            <a:ext cx="369332" cy="157239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200" b="1" dirty="0" smtClean="0"/>
              <a:t>% Helmet Us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8077200" y="2390001"/>
            <a:ext cx="340659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8077200" y="5410200"/>
            <a:ext cx="457200" cy="76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339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082</TotalTime>
  <Words>490</Words>
  <Application>Microsoft Macintosh PowerPoint</Application>
  <PresentationFormat>On-screen Show (4:3)</PresentationFormat>
  <Paragraphs>149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Franklin Gothic Book</vt:lpstr>
      <vt:lpstr>Franklin Gothic Demi</vt:lpstr>
      <vt:lpstr>Franklin Gothic Medium</vt:lpstr>
      <vt:lpstr>Wingdings</vt:lpstr>
      <vt:lpstr>MASTER_powerpoint_template</vt:lpstr>
      <vt:lpstr>think-cell Slide</vt:lpstr>
      <vt:lpstr>Statewide Safety Belt Use Rates</vt:lpstr>
      <vt:lpstr>Texas 2017 Safety Belt Use by City</vt:lpstr>
      <vt:lpstr>Texas 2017 Nighttime Safety Belt Use by City</vt:lpstr>
      <vt:lpstr>2017 Child Restraint Use in 14 Texas Cities</vt:lpstr>
      <vt:lpstr>2017 School-Age Child Restraint Use in 18 Texas Cities</vt:lpstr>
      <vt:lpstr>Statewide Motorcycle Helmet  Use Rates</vt:lpstr>
    </vt:vector>
  </TitlesOfParts>
  <Company>TxDOT</Company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lexa Goldberg</dc:creator>
  <cp:lastModifiedBy>Atchison, Samantha</cp:lastModifiedBy>
  <cp:revision>124</cp:revision>
  <cp:lastPrinted>2017-11-27T20:05:50Z</cp:lastPrinted>
  <dcterms:created xsi:type="dcterms:W3CDTF">2014-03-05T15:59:22Z</dcterms:created>
  <dcterms:modified xsi:type="dcterms:W3CDTF">2017-11-27T20:14:52Z</dcterms:modified>
</cp:coreProperties>
</file>